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1" d="100"/>
          <a:sy n="111" d="100"/>
        </p:scale>
        <p:origin x="450" y="78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8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7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w3ctag/design-reviews/issues/355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endParaRPr lang="en-US" sz="29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0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1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18DFB0D4-43B9-4614-87D4-A88A9403AD17}"/>
              </a:ext>
            </a:extLst>
          </p:cNvPr>
          <p:cNvGrpSpPr/>
          <p:nvPr/>
        </p:nvGrpSpPr>
        <p:grpSpPr>
          <a:xfrm>
            <a:off x="7613311" y="910444"/>
            <a:ext cx="4249324" cy="4803321"/>
            <a:chOff x="7613311" y="910444"/>
            <a:chExt cx="4249324" cy="4803321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22A4212-081D-4B49-BD36-98C47B4A2A88}"/>
                </a:ext>
              </a:extLst>
            </p:cNvPr>
            <p:cNvGrpSpPr/>
            <p:nvPr/>
          </p:nvGrpSpPr>
          <p:grpSpPr>
            <a:xfrm>
              <a:off x="8389718" y="1508627"/>
              <a:ext cx="2719977" cy="3677433"/>
              <a:chOff x="8389718" y="1508627"/>
              <a:chExt cx="2719977" cy="3677433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C28A8288-B046-42FA-B06A-5DBC93EE3D0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 rot="5400000" flipV="1">
                <a:off x="8653494" y="2000710"/>
                <a:ext cx="2192426" cy="2719977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0142B63B-168E-414B-8DB1-560E54D47D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7865124" y="2795355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9EE1FF-91A8-411A-BE5A-5E7E479B6494}"/>
                </a:ext>
              </a:extLst>
            </p:cNvPr>
            <p:cNvGrpSpPr/>
            <p:nvPr/>
          </p:nvGrpSpPr>
          <p:grpSpPr>
            <a:xfrm>
              <a:off x="7613311" y="3754626"/>
              <a:ext cx="4249324" cy="1959139"/>
              <a:chOff x="7613311" y="3754626"/>
              <a:chExt cx="4249324" cy="1959139"/>
            </a:xfrm>
          </p:grpSpPr>
          <p:sp>
            <p:nvSpPr>
              <p:cNvPr id="3" name="Flowchart: Manual Operation 2">
                <a:extLst>
                  <a:ext uri="{FF2B5EF4-FFF2-40B4-BE49-F238E27FC236}">
                    <a16:creationId xmlns:a16="http://schemas.microsoft.com/office/drawing/2014/main" id="{7EFE8D1C-BFAE-4407-96BB-DF6E6FC9AEC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 rot="10800000">
                <a:off x="7613311" y="3754626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9C2274F-EE42-43B5-BF32-B381968767B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8791583" y="4993075"/>
                <a:ext cx="196365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DEVIC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641CF4F-10CF-4575-9180-4849EF8BFDB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8346896" y="431562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SON XML CBOR JPEG…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DD894DA-7EE5-49C8-B9EB-4CADFE78F72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894500" y="3986377"/>
                <a:ext cx="3738360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ONEM2M OCF ECHONET ZIGBEE OPC-UA… 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2B0B32B-7F3E-4F4D-A26D-3FF08977A2B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8389718" y="466728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HTTP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CoAP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MQTT BACNET ZWAVE… 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7AA207D-2FE5-49E4-9E1D-36BC118B9961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2080845"/>
              <a:chOff x="7613311" y="910444"/>
              <a:chExt cx="4249324" cy="2080845"/>
            </a:xfrm>
          </p:grpSpPr>
          <p:sp>
            <p:nvSpPr>
              <p:cNvPr id="5" name="Flowchart: Manual Operation 4">
                <a:extLst>
                  <a:ext uri="{FF2B5EF4-FFF2-40B4-BE49-F238E27FC236}">
                    <a16:creationId xmlns:a16="http://schemas.microsoft.com/office/drawing/2014/main" id="{C3041B53-9F64-46EB-95A0-B684D8DABD2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13311" y="1028157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60F86C2-41BD-4210-8396-0CC5575F563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8775354" y="910444"/>
                <a:ext cx="201417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APPLICATION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660C2A7-3647-4CDB-BEC0-4F67D5D1C9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8223830" y="2270599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ABLES  RDF/JSON-LD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7E2F181-70E3-4DB0-B24C-0A9A620A474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8240639" y="1922384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SQL  SPARQL 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238CC39-D92F-45B6-9B47-C437C466702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8248100" y="161133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AAS  DIGITAL TWINS  ML/AI ANALYTICS 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2683798-7DEE-49D4-8F33-B4DF5BD2BB4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8254925" y="126545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CLOUD, EDGE/FOG, and IOT SERVICES</a:t>
                </a: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401406" y="4473712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PYTHON  NODE.JS  C++   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fLASK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eXPRESS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263713" y="921255"/>
                <a:ext cx="217478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330636" y="1564373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QUERY AJAX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200220" y="2185693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JAVASCRIPT 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41802" y="5026206"/>
                <a:ext cx="179032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834097" y="440290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41803" y="939981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856360" y="162129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60095" y="2957604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NTERACTION MOD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D050763-61CE-4E69-A236-6054BEB10F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49177" y="3633272"/>
            <a:ext cx="297093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white"/>
                </a:solidFill>
                <a:latin typeface="Intel Clear Pro"/>
              </a:rPr>
              <a:t>     IOTSCHEMA ETSI-SSN OGS…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</a:t>
            </a:r>
            <a:r>
              <a:rPr lang="de-DE" sz="1600" b="1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: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15</a:t>
            </a:r>
            <a:r>
              <a:rPr lang="en-US" b="1" baseline="30000" dirty="0">
                <a:solidFill>
                  <a:prstClr val="black"/>
                </a:solidFill>
                <a:latin typeface="Calibri"/>
              </a:rPr>
              <a:t>th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</TotalTime>
  <Words>952</Words>
  <Application>Microsoft Office PowerPoint</Application>
  <PresentationFormat>Custom</PresentationFormat>
  <Paragraphs>25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;Michael McCool</dc:creator>
  <cp:keywords>CTPClassification=CTP_NT</cp:keywords>
  <cp:lastModifiedBy>Mccool, Michael</cp:lastModifiedBy>
  <cp:revision>130</cp:revision>
  <dcterms:created xsi:type="dcterms:W3CDTF">2018-05-15T12:31:41Z</dcterms:created>
  <dcterms:modified xsi:type="dcterms:W3CDTF">2019-04-08T14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14:01:5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